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4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567385-0786-92CE-6104-CB1CD3CDB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247464-D3C6-0CFB-4D88-F86558D1E3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A7DD4D-A854-887A-96E0-C00773624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r Header Vertic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F398DD-E752-EA0C-9DD9-35FCB0E0EE4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CD1EE37-518B-7F78-3C81-0752587C42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FEA391-41E3-112C-FC10-8E65004777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ECBC043-5F6F-5D37-A0C9-3A6CA66E1EF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FBE723-2285-4112-1436-DB83B315F24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Subtitle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88B61BF-1790-4309-AE1A-F7BF1F8871A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/>
          <a:lstStyle/>
          <a:p>
            <a:r>
              <a:rPr lang="en-US" dirty="0"/>
              <a:t>Lorem ipsum dolo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5664AAA-715D-E45D-3F74-A836C103AA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/>
          <a:lstStyle/>
          <a:p>
            <a:r>
              <a:rPr lang="en-US" dirty="0"/>
              <a:t>Lorem ipsum dolor s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79F4F57-0291-CA00-2AB2-61EC7C2D4B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Header 1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0D60CE2-5A50-E641-8BA6-DEF0B52447E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Header 2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7F0AFAC-1C10-496A-CF41-55B3F83087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Header 3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473ECDC-8CD4-A626-6202-658BA6265E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Header 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831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2</TotalTime>
  <Words>169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Four Header Vertica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12</cp:revision>
  <dcterms:created xsi:type="dcterms:W3CDTF">2025-07-09T10:57:17Z</dcterms:created>
  <dcterms:modified xsi:type="dcterms:W3CDTF">2025-10-22T09:35:50Z</dcterms:modified>
  <cp:category/>
</cp:coreProperties>
</file>